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</p:sldMasterIdLst>
  <p:notesMasterIdLst>
    <p:notesMasterId r:id="rId3"/>
  </p:notesMasterIdLst>
  <p:sldIdLst>
    <p:sldId id="261" r:id="rId2"/>
  </p:sldIdLst>
  <p:sldSz cx="9144000" cy="6858000" type="screen4x3"/>
  <p:notesSz cx="6858000" cy="9144000"/>
  <p:custDataLst>
    <p:tags r:id="rId4"/>
  </p:custDataLst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106" autoAdjust="0"/>
    <p:restoredTop sz="94660"/>
  </p:normalViewPr>
  <p:slideViewPr>
    <p:cSldViewPr showGuides="1">
      <p:cViewPr varScale="1">
        <p:scale>
          <a:sx n="110" d="100"/>
          <a:sy n="110" d="100"/>
        </p:scale>
        <p:origin x="-2016" y="-9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noProof="1"/>
            </a:lvl1pPr>
          </a:lstStyle>
          <a:p>
            <a:endParaRPr lang="zh-CN" altLang="zh-CN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noProof="1"/>
            </a:lvl1pPr>
          </a:lstStyle>
          <a:p>
            <a:endParaRPr lang="de-DE" altLang="zh-CN"/>
          </a:p>
        </p:txBody>
      </p:sp>
      <p:sp>
        <p:nvSpPr>
          <p:cNvPr id="5124" name="Rectangle 4"/>
          <p:cNvSpPr>
            <a:spLocks noRo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noProof="1" smtClean="0"/>
              <a:t>Textmasterformate durch Klicken bearbeiten</a:t>
            </a:r>
          </a:p>
          <a:p>
            <a:pPr lvl="1"/>
            <a:r>
              <a:rPr lang="en-US" altLang="zh-CN" noProof="1" smtClean="0"/>
              <a:t>Zweite Ebene</a:t>
            </a:r>
          </a:p>
          <a:p>
            <a:pPr lvl="2"/>
            <a:r>
              <a:rPr lang="en-US" altLang="zh-CN" noProof="1" smtClean="0"/>
              <a:t>Dritte Ebene</a:t>
            </a:r>
          </a:p>
          <a:p>
            <a:pPr lvl="3"/>
            <a:r>
              <a:rPr lang="en-US" altLang="zh-CN" noProof="1" smtClean="0"/>
              <a:t>Vierte Ebene</a:t>
            </a:r>
          </a:p>
          <a:p>
            <a:pPr lvl="4"/>
            <a:r>
              <a:rPr lang="en-US" altLang="zh-CN" noProof="1" smtClean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noProof="1"/>
            </a:lvl1pPr>
          </a:lstStyle>
          <a:p>
            <a:endParaRPr lang="zh-CN" altLang="zh-CN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noProof="1"/>
            </a:lvl1pPr>
          </a:lstStyle>
          <a:p>
            <a:fld id="{4FC547CA-C16B-411D-ADFE-DC6EA72ECD92}" type="slidenum">
              <a:rPr altLang="zh-CN"/>
              <a:pPr/>
              <a:t>‹#›</a:t>
            </a:fld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102380011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27902025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30844912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89725" y="58738"/>
            <a:ext cx="2130425" cy="574357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295275" y="58738"/>
            <a:ext cx="6242050" cy="574357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35960018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35303815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14431895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95275" y="1489075"/>
            <a:ext cx="4186238" cy="43132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33913" y="1489075"/>
            <a:ext cx="4186237" cy="43132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19753012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页脚占位符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32807233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27598127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240137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36537032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36810487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5275" y="1489075"/>
            <a:ext cx="8524875" cy="431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noProof="1" smtClean="0"/>
              <a:t>Textmasterformate durch Klicken bearbeiten</a:t>
            </a:r>
          </a:p>
          <a:p>
            <a:pPr lvl="1"/>
            <a:r>
              <a:rPr lang="en-US" altLang="zh-CN" noProof="1" smtClean="0"/>
              <a:t>Zweite Ebene</a:t>
            </a:r>
          </a:p>
          <a:p>
            <a:pPr lvl="2"/>
            <a:r>
              <a:rPr lang="en-US" altLang="zh-CN" noProof="1" smtClean="0"/>
              <a:t>Dritte Ebene</a:t>
            </a:r>
          </a:p>
          <a:p>
            <a:pPr lvl="3"/>
            <a:r>
              <a:rPr lang="en-US" altLang="zh-CN" noProof="1" smtClean="0"/>
              <a:t>Vierte Ebene</a:t>
            </a:r>
          </a:p>
          <a:p>
            <a:pPr lvl="4"/>
            <a:r>
              <a:rPr lang="en-US" altLang="zh-CN" noProof="1" smtClean="0"/>
              <a:t>Fünfte Ebene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3124200" y="6365875"/>
            <a:ext cx="289560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000">
                <a:cs typeface="+mn-cs"/>
              </a:defRPr>
            </a:lvl1pPr>
          </a:lstStyle>
          <a:p>
            <a:endParaRPr lang="zh-CN" altLang="zh-CN"/>
          </a:p>
        </p:txBody>
      </p:sp>
      <p:sp>
        <p:nvSpPr>
          <p:cNvPr id="9220" name="Rectangle 7"/>
          <p:cNvSpPr>
            <a:spLocks noGrp="1" noChangeArrowheads="1"/>
          </p:cNvSpPr>
          <p:nvPr>
            <p:ph type="title"/>
          </p:nvPr>
        </p:nvSpPr>
        <p:spPr bwMode="gray">
          <a:xfrm>
            <a:off x="300038" y="58738"/>
            <a:ext cx="8520112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Klicken Sie, um das Titelformat zu bearbeiten</a:t>
            </a:r>
          </a:p>
        </p:txBody>
      </p:sp>
      <p:sp>
        <p:nvSpPr>
          <p:cNvPr id="1032" name="Rectangle 10"/>
          <p:cNvSpPr>
            <a:spLocks noChangeArrowheads="1"/>
          </p:cNvSpPr>
          <p:nvPr/>
        </p:nvSpPr>
        <p:spPr bwMode="gray">
          <a:xfrm>
            <a:off x="219075" y="6365875"/>
            <a:ext cx="1343025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de-DE" sz="1000">
                <a:cs typeface="Arial" charset="0"/>
              </a:rPr>
              <a:t>Page </a:t>
            </a:r>
            <a:r>
              <a:rPr lang="de-DE" sz="1000">
                <a:cs typeface="Arial" charset="0"/>
                <a:sym typeface="Wingdings" pitchFamily="2" charset="2"/>
              </a:rPr>
              <a:t></a:t>
            </a:r>
            <a:r>
              <a:rPr lang="de-DE" sz="1000">
                <a:cs typeface="Arial" charset="0"/>
              </a:rPr>
              <a:t> </a:t>
            </a:r>
            <a:fld id="{62499220-D81D-4A8B-9D30-4BF1B67C43CB}" type="slidenum">
              <a:rPr lang="de-DE" sz="1000">
                <a:cs typeface="Arial" charset="0"/>
              </a:rPr>
              <a:pPr/>
              <a:t>‹#›</a:t>
            </a:fld>
            <a:endParaRPr lang="de-DE" sz="1000">
              <a:cs typeface="Arial" charset="0"/>
            </a:endParaRPr>
          </a:p>
        </p:txBody>
      </p:sp>
      <p:sp>
        <p:nvSpPr>
          <p:cNvPr id="1033" name="Rectangle 9"/>
          <p:cNvSpPr>
            <a:spLocks noChangeArrowheads="1"/>
          </p:cNvSpPr>
          <p:nvPr userDrawn="1"/>
        </p:nvSpPr>
        <p:spPr bwMode="gray">
          <a:xfrm>
            <a:off x="7173913" y="6156325"/>
            <a:ext cx="1646237" cy="37782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DDDDDD"/>
              </a:gs>
            </a:gsLst>
            <a:lin ang="0" scaled="1"/>
          </a:gradFill>
          <a:ln w="9525">
            <a:solidFill>
              <a:srgbClr val="969696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defRPr/>
            </a:pPr>
            <a:r>
              <a:rPr lang="de-DE" sz="1600" b="1">
                <a:cs typeface="Arial" charset="0"/>
              </a:rPr>
              <a:t>YOUR LOGO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</p:sldLayoutIdLst>
  <p:timing>
    <p:tnLst>
      <p:par>
        <p:cTn id="1" dur="indefinite" restart="never" nodeType="tmRoot"/>
      </p:par>
    </p:tnLst>
  </p:timing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80975" indent="-180975" algn="l" rtl="0" fontAlgn="base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44500" indent="-261938" algn="l" rtl="0" fontAlgn="base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2pPr>
      <a:lvl3pPr marL="720725" indent="-274638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cs typeface="+mn-cs"/>
        </a:defRPr>
      </a:lvl3pPr>
      <a:lvl4pPr marL="987425" indent="-265113" algn="l" rtl="0" fontAlgn="base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12541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17113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1685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26257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0829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16100" y="5572125"/>
            <a:ext cx="5222875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7411" name="Group 23"/>
          <p:cNvGrpSpPr>
            <a:grpSpLocks/>
          </p:cNvGrpSpPr>
          <p:nvPr/>
        </p:nvGrpSpPr>
        <p:grpSpPr bwMode="auto">
          <a:xfrm>
            <a:off x="0" y="3500438"/>
            <a:ext cx="9144000" cy="1676400"/>
            <a:chOff x="0" y="2086"/>
            <a:chExt cx="5760" cy="1056"/>
          </a:xfrm>
        </p:grpSpPr>
        <p:sp>
          <p:nvSpPr>
            <p:cNvPr id="17412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zh-CN" altLang="zh-CN">
                <a:cs typeface="Arial" charset="0"/>
              </a:endParaRPr>
            </a:p>
          </p:txBody>
        </p:sp>
        <p:sp>
          <p:nvSpPr>
            <p:cNvPr id="17413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zh-CN" altLang="zh-CN">
                <a:cs typeface="Arial" charset="0"/>
              </a:endParaRPr>
            </a:p>
          </p:txBody>
        </p:sp>
      </p:grpSp>
      <p:sp>
        <p:nvSpPr>
          <p:cNvPr id="17414" name="Oval 14"/>
          <p:cNvSpPr>
            <a:spLocks noChangeArrowheads="1"/>
          </p:cNvSpPr>
          <p:nvPr/>
        </p:nvSpPr>
        <p:spPr bwMode="gray">
          <a:xfrm>
            <a:off x="2463800" y="1555750"/>
            <a:ext cx="4248150" cy="4248150"/>
          </a:xfrm>
          <a:prstGeom prst="ellipse">
            <a:avLst/>
          </a:prstGeom>
          <a:solidFill>
            <a:srgbClr val="BFD795"/>
          </a:solidFill>
          <a:ln w="9525" algn="ctr">
            <a:solidFill>
              <a:srgbClr val="FFFFFF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algn="ctr" eaLnBrk="0" hangingPunct="0"/>
            <a:endParaRPr lang="zh-CN" altLang="zh-CN" sz="1000">
              <a:cs typeface="Arial" charset="0"/>
            </a:endParaRPr>
          </a:p>
        </p:txBody>
      </p:sp>
      <p:sp>
        <p:nvSpPr>
          <p:cNvPr id="17415" name="Oval 15"/>
          <p:cNvSpPr>
            <a:spLocks noChangeArrowheads="1"/>
          </p:cNvSpPr>
          <p:nvPr/>
        </p:nvSpPr>
        <p:spPr bwMode="gray">
          <a:xfrm>
            <a:off x="2789238" y="2197100"/>
            <a:ext cx="3595687" cy="3594100"/>
          </a:xfrm>
          <a:prstGeom prst="ellipse">
            <a:avLst/>
          </a:prstGeom>
          <a:solidFill>
            <a:srgbClr val="B2CF7D"/>
          </a:solidFill>
          <a:ln w="9525" algn="ctr">
            <a:solidFill>
              <a:srgbClr val="FFFFFF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algn="ctr" eaLnBrk="0" hangingPunct="0"/>
            <a:endParaRPr lang="zh-CN" altLang="zh-CN" sz="1000" noProof="1">
              <a:cs typeface="Arial" charset="0"/>
            </a:endParaRPr>
          </a:p>
          <a:p>
            <a:pPr algn="ctr" eaLnBrk="0" hangingPunct="0"/>
            <a:endParaRPr lang="zh-CN" altLang="zh-CN" sz="1000" noProof="1">
              <a:cs typeface="Arial" charset="0"/>
            </a:endParaRPr>
          </a:p>
        </p:txBody>
      </p:sp>
      <p:sp>
        <p:nvSpPr>
          <p:cNvPr id="17416" name="Oval 16"/>
          <p:cNvSpPr>
            <a:spLocks noChangeArrowheads="1"/>
          </p:cNvSpPr>
          <p:nvPr/>
        </p:nvSpPr>
        <p:spPr bwMode="gray">
          <a:xfrm>
            <a:off x="3116263" y="2847975"/>
            <a:ext cx="2940050" cy="2940050"/>
          </a:xfrm>
          <a:prstGeom prst="ellipse">
            <a:avLst/>
          </a:prstGeom>
          <a:solidFill>
            <a:srgbClr val="90BA45"/>
          </a:solidFill>
          <a:ln w="9525" algn="ctr">
            <a:solidFill>
              <a:srgbClr val="FFFFFF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algn="ctr" eaLnBrk="0" hangingPunct="0"/>
            <a:endParaRPr lang="zh-CN" altLang="zh-CN" sz="1000">
              <a:cs typeface="Arial" charset="0"/>
            </a:endParaRPr>
          </a:p>
        </p:txBody>
      </p:sp>
      <p:sp>
        <p:nvSpPr>
          <p:cNvPr id="17417" name="Oval 17"/>
          <p:cNvSpPr>
            <a:spLocks noChangeArrowheads="1"/>
          </p:cNvSpPr>
          <p:nvPr/>
        </p:nvSpPr>
        <p:spPr bwMode="gray">
          <a:xfrm>
            <a:off x="3441700" y="3502025"/>
            <a:ext cx="2287588" cy="2286000"/>
          </a:xfrm>
          <a:prstGeom prst="ellipse">
            <a:avLst/>
          </a:prstGeom>
          <a:solidFill>
            <a:srgbClr val="6B9B1A"/>
          </a:solidFill>
          <a:ln w="9525" algn="ctr">
            <a:solidFill>
              <a:srgbClr val="FFFFFF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algn="ctr" eaLnBrk="0" hangingPunct="0"/>
            <a:endParaRPr lang="zh-CN" altLang="zh-CN" sz="1000">
              <a:cs typeface="Arial" charset="0"/>
            </a:endParaRPr>
          </a:p>
        </p:txBody>
      </p:sp>
      <p:sp>
        <p:nvSpPr>
          <p:cNvPr id="17418" name="Oval 18"/>
          <p:cNvSpPr>
            <a:spLocks noChangeArrowheads="1"/>
          </p:cNvSpPr>
          <p:nvPr/>
        </p:nvSpPr>
        <p:spPr bwMode="gray">
          <a:xfrm>
            <a:off x="3767138" y="4144963"/>
            <a:ext cx="1635125" cy="1635125"/>
          </a:xfrm>
          <a:prstGeom prst="ellipse">
            <a:avLst/>
          </a:prstGeom>
          <a:solidFill>
            <a:srgbClr val="4C7013"/>
          </a:solidFill>
          <a:ln w="9525" algn="ctr">
            <a:solidFill>
              <a:srgbClr val="FFFFFF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algn="ctr" eaLnBrk="0" hangingPunct="0"/>
            <a:endParaRPr lang="zh-CN" altLang="zh-CN" sz="1000">
              <a:cs typeface="Arial" charset="0"/>
            </a:endParaRPr>
          </a:p>
        </p:txBody>
      </p:sp>
      <p:grpSp>
        <p:nvGrpSpPr>
          <p:cNvPr id="17419" name="Group 11"/>
          <p:cNvGrpSpPr>
            <a:grpSpLocks/>
          </p:cNvGrpSpPr>
          <p:nvPr/>
        </p:nvGrpSpPr>
        <p:grpSpPr bwMode="auto">
          <a:xfrm>
            <a:off x="3954463" y="1746250"/>
            <a:ext cx="1281112" cy="3455988"/>
            <a:chOff x="2491" y="1100"/>
            <a:chExt cx="807" cy="2177"/>
          </a:xfrm>
        </p:grpSpPr>
        <p:sp>
          <p:nvSpPr>
            <p:cNvPr id="17420" name="Text Box 19"/>
            <p:cNvSpPr txBox="1">
              <a:spLocks noChangeArrowheads="1"/>
            </p:cNvSpPr>
            <p:nvPr/>
          </p:nvSpPr>
          <p:spPr bwMode="gray">
            <a:xfrm>
              <a:off x="2582" y="1100"/>
              <a:ext cx="616" cy="1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01688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Aft>
                  <a:spcPct val="40000"/>
                </a:spcAft>
              </a:pPr>
              <a:r>
                <a:rPr lang="en-US" altLang="zh-CN" sz="1000" b="1" noProof="1">
                  <a:cs typeface="Arial" charset="0"/>
                </a:rPr>
                <a:t>Buisness</a:t>
              </a:r>
              <a:br>
                <a:rPr lang="en-US" altLang="zh-CN" sz="1000" b="1" noProof="1">
                  <a:cs typeface="Arial" charset="0"/>
                </a:rPr>
              </a:br>
              <a:r>
                <a:rPr lang="en-US" altLang="zh-CN" sz="1000" b="1" noProof="1">
                  <a:cs typeface="Arial" charset="0"/>
                </a:rPr>
                <a:t>Transforamtion </a:t>
              </a:r>
            </a:p>
          </p:txBody>
        </p:sp>
        <p:sp>
          <p:nvSpPr>
            <p:cNvPr id="17421" name="Text Box 19"/>
            <p:cNvSpPr txBox="1">
              <a:spLocks noChangeArrowheads="1"/>
            </p:cNvSpPr>
            <p:nvPr/>
          </p:nvSpPr>
          <p:spPr bwMode="gray">
            <a:xfrm>
              <a:off x="2594" y="1507"/>
              <a:ext cx="591" cy="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01688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Aft>
                  <a:spcPct val="40000"/>
                </a:spcAft>
              </a:pPr>
              <a:r>
                <a:rPr lang="en-US" altLang="zh-CN" sz="1000" b="1" noProof="1">
                  <a:cs typeface="Arial" charset="0"/>
                </a:rPr>
                <a:t>Change</a:t>
              </a:r>
              <a:br>
                <a:rPr lang="en-US" altLang="zh-CN" sz="1000" b="1" noProof="1">
                  <a:cs typeface="Arial" charset="0"/>
                </a:rPr>
              </a:br>
              <a:r>
                <a:rPr lang="en-US" altLang="zh-CN" sz="1000" b="1" noProof="1">
                  <a:cs typeface="Arial" charset="0"/>
                </a:rPr>
                <a:t>Management </a:t>
              </a:r>
            </a:p>
          </p:txBody>
        </p:sp>
        <p:sp>
          <p:nvSpPr>
            <p:cNvPr id="17422" name="Text Box 19"/>
            <p:cNvSpPr txBox="1">
              <a:spLocks noChangeArrowheads="1"/>
            </p:cNvSpPr>
            <p:nvPr/>
          </p:nvSpPr>
          <p:spPr bwMode="gray">
            <a:xfrm>
              <a:off x="2552" y="1917"/>
              <a:ext cx="675" cy="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01688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Aft>
                  <a:spcPct val="40000"/>
                </a:spcAft>
              </a:pPr>
              <a:r>
                <a:rPr lang="en-US" altLang="zh-CN" sz="1000" b="1" noProof="1">
                  <a:solidFill>
                    <a:schemeClr val="bg1"/>
                  </a:solidFill>
                  <a:cs typeface="Arial" charset="0"/>
                </a:rPr>
                <a:t>Organization</a:t>
              </a:r>
              <a:br>
                <a:rPr lang="en-US" altLang="zh-CN" sz="1000" b="1" noProof="1">
                  <a:solidFill>
                    <a:schemeClr val="bg1"/>
                  </a:solidFill>
                  <a:cs typeface="Arial" charset="0"/>
                </a:rPr>
              </a:br>
              <a:r>
                <a:rPr lang="en-US" altLang="zh-CN" sz="1000" b="1" noProof="1">
                  <a:solidFill>
                    <a:schemeClr val="bg1"/>
                  </a:solidFill>
                  <a:cs typeface="Arial" charset="0"/>
                </a:rPr>
                <a:t>Devolpment </a:t>
              </a:r>
            </a:p>
          </p:txBody>
        </p:sp>
        <p:sp>
          <p:nvSpPr>
            <p:cNvPr id="17423" name="Text Box 19"/>
            <p:cNvSpPr txBox="1">
              <a:spLocks noChangeArrowheads="1"/>
            </p:cNvSpPr>
            <p:nvPr/>
          </p:nvSpPr>
          <p:spPr bwMode="gray">
            <a:xfrm>
              <a:off x="2491" y="2370"/>
              <a:ext cx="798" cy="1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01688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Aft>
                  <a:spcPct val="40000"/>
                </a:spcAft>
              </a:pPr>
              <a:r>
                <a:rPr lang="en-US" altLang="zh-CN" sz="1000" b="1" noProof="1">
                  <a:solidFill>
                    <a:schemeClr val="bg1"/>
                  </a:solidFill>
                  <a:cs typeface="Arial" charset="0"/>
                </a:rPr>
                <a:t>Buisness Process</a:t>
              </a:r>
              <a:br>
                <a:rPr lang="en-US" altLang="zh-CN" sz="1000" b="1" noProof="1">
                  <a:solidFill>
                    <a:schemeClr val="bg1"/>
                  </a:solidFill>
                  <a:cs typeface="Arial" charset="0"/>
                </a:rPr>
              </a:br>
              <a:r>
                <a:rPr lang="en-US" altLang="zh-CN" sz="1000" b="1" noProof="1">
                  <a:solidFill>
                    <a:schemeClr val="bg1"/>
                  </a:solidFill>
                  <a:cs typeface="Arial" charset="0"/>
                </a:rPr>
                <a:t>Devolpment</a:t>
              </a:r>
            </a:p>
          </p:txBody>
        </p:sp>
        <p:sp>
          <p:nvSpPr>
            <p:cNvPr id="17424" name="Text Box 19"/>
            <p:cNvSpPr txBox="1">
              <a:spLocks noChangeArrowheads="1"/>
            </p:cNvSpPr>
            <p:nvPr/>
          </p:nvSpPr>
          <p:spPr bwMode="gray">
            <a:xfrm>
              <a:off x="2505" y="2989"/>
              <a:ext cx="793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01688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Aft>
                  <a:spcPct val="40000"/>
                </a:spcAft>
              </a:pPr>
              <a:r>
                <a:rPr lang="en-US" altLang="zh-CN" sz="1000" b="1" noProof="1">
                  <a:solidFill>
                    <a:schemeClr val="bg1"/>
                  </a:solidFill>
                  <a:cs typeface="Arial" charset="0"/>
                </a:rPr>
                <a:t>Customer</a:t>
              </a:r>
              <a:br>
                <a:rPr lang="en-US" altLang="zh-CN" sz="1000" b="1" noProof="1">
                  <a:solidFill>
                    <a:schemeClr val="bg1"/>
                  </a:solidFill>
                  <a:cs typeface="Arial" charset="0"/>
                </a:rPr>
              </a:br>
              <a:r>
                <a:rPr lang="en-US" altLang="zh-CN" sz="1000" b="1" noProof="1">
                  <a:solidFill>
                    <a:schemeClr val="bg1"/>
                  </a:solidFill>
                  <a:cs typeface="Arial" charset="0"/>
                </a:rPr>
                <a:t>Relationship</a:t>
              </a:r>
              <a:br>
                <a:rPr lang="en-US" altLang="zh-CN" sz="1000" b="1" noProof="1">
                  <a:solidFill>
                    <a:schemeClr val="bg1"/>
                  </a:solidFill>
                  <a:cs typeface="Arial" charset="0"/>
                </a:rPr>
              </a:br>
              <a:r>
                <a:rPr lang="en-US" altLang="zh-CN" sz="1000" b="1" noProof="1">
                  <a:solidFill>
                    <a:schemeClr val="bg1"/>
                  </a:solidFill>
                  <a:cs typeface="Arial" charset="0"/>
                </a:rPr>
                <a:t>Management </a:t>
              </a:r>
            </a:p>
          </p:txBody>
        </p:sp>
      </p:grpSp>
      <p:grpSp>
        <p:nvGrpSpPr>
          <p:cNvPr id="17425" name="Group 17"/>
          <p:cNvGrpSpPr>
            <a:grpSpLocks/>
          </p:cNvGrpSpPr>
          <p:nvPr/>
        </p:nvGrpSpPr>
        <p:grpSpPr bwMode="auto">
          <a:xfrm>
            <a:off x="3933825" y="4295775"/>
            <a:ext cx="1338263" cy="1282700"/>
            <a:chOff x="2478" y="2706"/>
            <a:chExt cx="843" cy="808"/>
          </a:xfrm>
        </p:grpSpPr>
        <p:sp>
          <p:nvSpPr>
            <p:cNvPr id="17426" name="AutoShape 25"/>
            <p:cNvSpPr>
              <a:spLocks noChangeArrowheads="1"/>
            </p:cNvSpPr>
            <p:nvPr/>
          </p:nvSpPr>
          <p:spPr bwMode="gray">
            <a:xfrm rot="2829383">
              <a:off x="2619" y="2792"/>
              <a:ext cx="702" cy="702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2147483647 h 21600"/>
                <a:gd name="T8" fmla="*/ 2147483647 w 21600"/>
                <a:gd name="T9" fmla="*/ 2147483647 h 21600"/>
                <a:gd name="T10" fmla="*/ 2147483647 w 21600"/>
                <a:gd name="T11" fmla="*/ 2147483647 h 216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3163 w 21600"/>
                <a:gd name="T19" fmla="*/ 3163 h 21600"/>
                <a:gd name="T20" fmla="*/ 18437 w 21600"/>
                <a:gd name="T21" fmla="*/ 18437 h 216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600" h="21600">
                  <a:moveTo>
                    <a:pt x="19482" y="13036"/>
                  </a:moveTo>
                  <a:cubicBezTo>
                    <a:pt x="19670" y="12306"/>
                    <a:pt x="19766" y="11554"/>
                    <a:pt x="19766" y="10800"/>
                  </a:cubicBezTo>
                  <a:cubicBezTo>
                    <a:pt x="19766" y="8586"/>
                    <a:pt x="18947" y="6450"/>
                    <a:pt x="17466" y="4804"/>
                  </a:cubicBezTo>
                  <a:lnTo>
                    <a:pt x="18830" y="3578"/>
                  </a:lnTo>
                  <a:cubicBezTo>
                    <a:pt x="20613" y="5561"/>
                    <a:pt x="21600" y="8133"/>
                    <a:pt x="21600" y="10800"/>
                  </a:cubicBezTo>
                  <a:cubicBezTo>
                    <a:pt x="21600" y="11708"/>
                    <a:pt x="21485" y="12614"/>
                    <a:pt x="21258" y="13494"/>
                  </a:cubicBezTo>
                  <a:lnTo>
                    <a:pt x="23873" y="14168"/>
                  </a:lnTo>
                  <a:lnTo>
                    <a:pt x="19468" y="16768"/>
                  </a:lnTo>
                  <a:lnTo>
                    <a:pt x="16867" y="12363"/>
                  </a:lnTo>
                  <a:lnTo>
                    <a:pt x="19482" y="130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17427" name="AutoShape 26"/>
            <p:cNvSpPr>
              <a:spLocks noChangeArrowheads="1"/>
            </p:cNvSpPr>
            <p:nvPr/>
          </p:nvSpPr>
          <p:spPr bwMode="gray">
            <a:xfrm rot="-414136" flipH="1" flipV="1">
              <a:off x="2478" y="2812"/>
              <a:ext cx="702" cy="702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2147483647 h 21600"/>
                <a:gd name="T8" fmla="*/ 2147483647 w 21600"/>
                <a:gd name="T9" fmla="*/ 2147483647 h 21600"/>
                <a:gd name="T10" fmla="*/ 2147483647 w 21600"/>
                <a:gd name="T11" fmla="*/ 2147483647 h 216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3163 w 21600"/>
                <a:gd name="T19" fmla="*/ 3163 h 21600"/>
                <a:gd name="T20" fmla="*/ 18437 w 21600"/>
                <a:gd name="T21" fmla="*/ 18437 h 216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600" h="21600">
                  <a:moveTo>
                    <a:pt x="19482" y="13036"/>
                  </a:moveTo>
                  <a:cubicBezTo>
                    <a:pt x="19670" y="12306"/>
                    <a:pt x="19766" y="11554"/>
                    <a:pt x="19766" y="10800"/>
                  </a:cubicBezTo>
                  <a:cubicBezTo>
                    <a:pt x="19766" y="8586"/>
                    <a:pt x="18947" y="6450"/>
                    <a:pt x="17466" y="4804"/>
                  </a:cubicBezTo>
                  <a:lnTo>
                    <a:pt x="18830" y="3578"/>
                  </a:lnTo>
                  <a:cubicBezTo>
                    <a:pt x="20613" y="5561"/>
                    <a:pt x="21600" y="8133"/>
                    <a:pt x="21600" y="10800"/>
                  </a:cubicBezTo>
                  <a:cubicBezTo>
                    <a:pt x="21600" y="11708"/>
                    <a:pt x="21485" y="12614"/>
                    <a:pt x="21258" y="13494"/>
                  </a:cubicBezTo>
                  <a:lnTo>
                    <a:pt x="23873" y="14168"/>
                  </a:lnTo>
                  <a:lnTo>
                    <a:pt x="19468" y="16768"/>
                  </a:lnTo>
                  <a:lnTo>
                    <a:pt x="16867" y="12363"/>
                  </a:lnTo>
                  <a:lnTo>
                    <a:pt x="19482" y="130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17428" name="AutoShape 27"/>
            <p:cNvSpPr>
              <a:spLocks noChangeArrowheads="1"/>
            </p:cNvSpPr>
            <p:nvPr/>
          </p:nvSpPr>
          <p:spPr bwMode="gray">
            <a:xfrm rot="5932106" flipH="1" flipV="1">
              <a:off x="2530" y="2705"/>
              <a:ext cx="702" cy="703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2147483647 h 21600"/>
                <a:gd name="T8" fmla="*/ 2147483647 w 21600"/>
                <a:gd name="T9" fmla="*/ 2147483647 h 21600"/>
                <a:gd name="T10" fmla="*/ 2147483647 w 21600"/>
                <a:gd name="T11" fmla="*/ 2147483647 h 216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3163 w 21600"/>
                <a:gd name="T19" fmla="*/ 3163 h 21600"/>
                <a:gd name="T20" fmla="*/ 18437 w 21600"/>
                <a:gd name="T21" fmla="*/ 18437 h 216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600" h="21600">
                  <a:moveTo>
                    <a:pt x="19482" y="13036"/>
                  </a:moveTo>
                  <a:cubicBezTo>
                    <a:pt x="19670" y="12306"/>
                    <a:pt x="19766" y="11554"/>
                    <a:pt x="19766" y="10800"/>
                  </a:cubicBezTo>
                  <a:cubicBezTo>
                    <a:pt x="19766" y="8586"/>
                    <a:pt x="18947" y="6450"/>
                    <a:pt x="17466" y="4804"/>
                  </a:cubicBezTo>
                  <a:lnTo>
                    <a:pt x="18830" y="3578"/>
                  </a:lnTo>
                  <a:cubicBezTo>
                    <a:pt x="20613" y="5561"/>
                    <a:pt x="21600" y="8133"/>
                    <a:pt x="21600" y="10800"/>
                  </a:cubicBezTo>
                  <a:cubicBezTo>
                    <a:pt x="21600" y="11708"/>
                    <a:pt x="21485" y="12614"/>
                    <a:pt x="21258" y="13494"/>
                  </a:cubicBezTo>
                  <a:lnTo>
                    <a:pt x="23873" y="14168"/>
                  </a:lnTo>
                  <a:lnTo>
                    <a:pt x="19468" y="16768"/>
                  </a:lnTo>
                  <a:lnTo>
                    <a:pt x="16867" y="12363"/>
                  </a:lnTo>
                  <a:lnTo>
                    <a:pt x="19482" y="130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</p:grpSp>
      <p:sp>
        <p:nvSpPr>
          <p:cNvPr id="37" name="Textfeld 7"/>
          <p:cNvSpPr txBox="1">
            <a:spLocks noChangeArrowheads="1"/>
          </p:cNvSpPr>
          <p:nvPr/>
        </p:nvSpPr>
        <p:spPr bwMode="gray">
          <a:xfrm>
            <a:off x="155575" y="174625"/>
            <a:ext cx="8988425" cy="1006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6000" b="1" kern="0" dirty="0">
                <a:solidFill>
                  <a:srgbClr val="6B9B1A"/>
                </a:solidFill>
                <a:latin typeface="Arial"/>
              </a:rPr>
              <a:t>ONION</a:t>
            </a:r>
            <a:r>
              <a:rPr lang="de-DE" sz="60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CHART</a:t>
            </a:r>
          </a:p>
        </p:txBody>
      </p:sp>
      <p:sp>
        <p:nvSpPr>
          <p:cNvPr id="17430" name="Text Box 13"/>
          <p:cNvSpPr txBox="1">
            <a:spLocks noChangeArrowheads="1"/>
          </p:cNvSpPr>
          <p:nvPr/>
        </p:nvSpPr>
        <p:spPr bwMode="gray">
          <a:xfrm>
            <a:off x="6327775" y="1992313"/>
            <a:ext cx="2497138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801688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801688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801688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801688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Aft>
                <a:spcPct val="40000"/>
              </a:spcAft>
            </a:pPr>
            <a:r>
              <a:rPr lang="en-US" altLang="zh-CN" sz="1600" noProof="1">
                <a:solidFill>
                  <a:srgbClr val="080808"/>
                </a:solidFill>
                <a:cs typeface="Arial" charset="0"/>
              </a:rPr>
              <a:t>All phrases can bereplaced with your own text.</a:t>
            </a:r>
          </a:p>
        </p:txBody>
      </p:sp>
      <p:sp>
        <p:nvSpPr>
          <p:cNvPr id="17431" name="Text Box 13"/>
          <p:cNvSpPr txBox="1">
            <a:spLocks noChangeArrowheads="1"/>
          </p:cNvSpPr>
          <p:nvPr/>
        </p:nvSpPr>
        <p:spPr bwMode="gray">
          <a:xfrm>
            <a:off x="306388" y="3409950"/>
            <a:ext cx="2208212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801688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801688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801688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801688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Aft>
                <a:spcPct val="40000"/>
              </a:spcAft>
            </a:pPr>
            <a:r>
              <a:rPr lang="en-US" altLang="zh-CN" sz="1600" noProof="1">
                <a:solidFill>
                  <a:srgbClr val="080808"/>
                </a:solidFill>
                <a:cs typeface="Arial" charset="0"/>
              </a:rPr>
              <a:t>All phrases can be replaced with your </a:t>
            </a:r>
            <a:br>
              <a:rPr lang="en-US" altLang="zh-CN" sz="1600" noProof="1">
                <a:solidFill>
                  <a:srgbClr val="080808"/>
                </a:solidFill>
                <a:cs typeface="Arial" charset="0"/>
              </a:rPr>
            </a:br>
            <a:r>
              <a:rPr lang="en-US" altLang="zh-CN" sz="1600" noProof="1">
                <a:solidFill>
                  <a:srgbClr val="080808"/>
                </a:solidFill>
                <a:cs typeface="Arial" charset="0"/>
              </a:rPr>
              <a:t>own text.</a:t>
            </a:r>
          </a:p>
        </p:txBody>
      </p:sp>
      <p:sp>
        <p:nvSpPr>
          <p:cNvPr id="17432" name="Text Box 13"/>
          <p:cNvSpPr txBox="1">
            <a:spLocks noChangeArrowheads="1"/>
          </p:cNvSpPr>
          <p:nvPr/>
        </p:nvSpPr>
        <p:spPr bwMode="gray">
          <a:xfrm>
            <a:off x="6434138" y="4260850"/>
            <a:ext cx="2390775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801688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801688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801688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801688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Aft>
                <a:spcPct val="40000"/>
              </a:spcAft>
            </a:pPr>
            <a:r>
              <a:rPr lang="en-US" altLang="zh-CN" sz="1600" noProof="1">
                <a:solidFill>
                  <a:srgbClr val="080808"/>
                </a:solidFill>
                <a:cs typeface="Arial" charset="0"/>
              </a:rPr>
              <a:t>All phrases can be replaced with </a:t>
            </a:r>
            <a:br>
              <a:rPr lang="en-US" altLang="zh-CN" sz="1600" noProof="1">
                <a:solidFill>
                  <a:srgbClr val="080808"/>
                </a:solidFill>
                <a:cs typeface="Arial" charset="0"/>
              </a:rPr>
            </a:br>
            <a:r>
              <a:rPr lang="en-US" altLang="zh-CN" sz="1600" noProof="1">
                <a:solidFill>
                  <a:srgbClr val="080808"/>
                </a:solidFill>
                <a:cs typeface="Arial" charset="0"/>
              </a:rPr>
              <a:t>your own text.</a:t>
            </a:r>
          </a:p>
        </p:txBody>
      </p:sp>
      <p:sp>
        <p:nvSpPr>
          <p:cNvPr id="17433" name="Text Box 13"/>
          <p:cNvSpPr txBox="1">
            <a:spLocks noChangeArrowheads="1"/>
          </p:cNvSpPr>
          <p:nvPr/>
        </p:nvSpPr>
        <p:spPr bwMode="gray">
          <a:xfrm>
            <a:off x="323850" y="1992313"/>
            <a:ext cx="2325688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801688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801688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801688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801688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Aft>
                <a:spcPct val="40000"/>
              </a:spcAft>
            </a:pPr>
            <a:r>
              <a:rPr lang="en-US" altLang="zh-CN" sz="1600" noProof="1">
                <a:solidFill>
                  <a:srgbClr val="080808"/>
                </a:solidFill>
                <a:cs typeface="Arial" charset="0"/>
              </a:rPr>
              <a:t>All phrases can be replaced with your </a:t>
            </a:r>
            <a:br>
              <a:rPr lang="en-US" altLang="zh-CN" sz="1600" noProof="1">
                <a:solidFill>
                  <a:srgbClr val="080808"/>
                </a:solidFill>
                <a:cs typeface="Arial" charset="0"/>
              </a:rPr>
            </a:br>
            <a:r>
              <a:rPr lang="en-US" altLang="zh-CN" sz="1600" noProof="1">
                <a:solidFill>
                  <a:srgbClr val="080808"/>
                </a:solidFill>
                <a:cs typeface="Arial" charset="0"/>
              </a:rPr>
              <a:t>own text.</a:t>
            </a:r>
          </a:p>
        </p:txBody>
      </p:sp>
      <p:sp>
        <p:nvSpPr>
          <p:cNvPr id="44" name="Line 17"/>
          <p:cNvSpPr>
            <a:spLocks noChangeShapeType="1"/>
          </p:cNvSpPr>
          <p:nvPr/>
        </p:nvSpPr>
        <p:spPr bwMode="gray">
          <a:xfrm rot="10800000">
            <a:off x="361950" y="1870075"/>
            <a:ext cx="3516313" cy="0"/>
          </a:xfrm>
          <a:prstGeom prst="line">
            <a:avLst/>
          </a:prstGeom>
          <a:noFill/>
          <a:ln w="19050">
            <a:solidFill>
              <a:srgbClr val="7F7F7F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45" name="Line 17"/>
          <p:cNvSpPr>
            <a:spLocks noChangeShapeType="1"/>
          </p:cNvSpPr>
          <p:nvPr/>
        </p:nvSpPr>
        <p:spPr bwMode="gray">
          <a:xfrm rot="10800000">
            <a:off x="5295900" y="2616200"/>
            <a:ext cx="3514725" cy="0"/>
          </a:xfrm>
          <a:prstGeom prst="line">
            <a:avLst/>
          </a:prstGeom>
          <a:noFill/>
          <a:ln w="19050">
            <a:solidFill>
              <a:srgbClr val="7F7F7F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46" name="Line 17"/>
          <p:cNvSpPr>
            <a:spLocks noChangeShapeType="1"/>
          </p:cNvSpPr>
          <p:nvPr/>
        </p:nvSpPr>
        <p:spPr bwMode="gray">
          <a:xfrm rot="10800000">
            <a:off x="361950" y="3286125"/>
            <a:ext cx="3516313" cy="0"/>
          </a:xfrm>
          <a:prstGeom prst="line">
            <a:avLst/>
          </a:prstGeom>
          <a:noFill/>
          <a:ln w="19050">
            <a:solidFill>
              <a:srgbClr val="7F7F7F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47" name="Line 17"/>
          <p:cNvSpPr>
            <a:spLocks noChangeShapeType="1"/>
          </p:cNvSpPr>
          <p:nvPr/>
        </p:nvSpPr>
        <p:spPr bwMode="gray">
          <a:xfrm rot="10800000">
            <a:off x="5295900" y="4143375"/>
            <a:ext cx="3514725" cy="0"/>
          </a:xfrm>
          <a:prstGeom prst="line">
            <a:avLst/>
          </a:prstGeom>
          <a:noFill/>
          <a:ln w="19050">
            <a:solidFill>
              <a:srgbClr val="7F7F7F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62" name="Text Box 13"/>
          <p:cNvSpPr txBox="1">
            <a:spLocks noChangeArrowheads="1"/>
          </p:cNvSpPr>
          <p:nvPr/>
        </p:nvSpPr>
        <p:spPr bwMode="gray">
          <a:xfrm>
            <a:off x="323850" y="6146800"/>
            <a:ext cx="23256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>
            <a:lvl1pPr defTabSz="801688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801688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801688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801688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801688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Aft>
                <a:spcPct val="40000"/>
              </a:spcAft>
            </a:pPr>
            <a:r>
              <a:rPr lang="en-US" altLang="zh-CN" sz="1200" noProof="1">
                <a:solidFill>
                  <a:srgbClr val="7F7F7F"/>
                </a:solidFill>
                <a:cs typeface="Arial" charset="0"/>
              </a:rPr>
              <a:t>For PowerPoint  97-20</a:t>
            </a:r>
            <a:r>
              <a:rPr lang="de-DE" sz="1200">
                <a:solidFill>
                  <a:srgbClr val="7F7F7F"/>
                </a:solidFill>
                <a:cs typeface="Arial" charset="0"/>
              </a:rPr>
              <a:t>10</a:t>
            </a:r>
            <a:endParaRPr lang="de-DE" altLang="zh-CN" sz="1200" noProof="1">
              <a:solidFill>
                <a:srgbClr val="7F7F7F"/>
              </a:solidFill>
              <a:cs typeface="Arial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" val="Standard"/>
  <p:tag name="ISPRING_RESOURCE_PATHS_HASH_2" val="8ff332e4cb24a7dec69ea83aed92c6154b7515d3"/>
</p:tagLst>
</file>

<file path=ppt/theme/theme1.xml><?xml version="1.0" encoding="utf-8"?>
<a:theme xmlns:a="http://schemas.openxmlformats.org/drawingml/2006/main" name="1_Standarddesign">
  <a:themeElements>
    <a:clrScheme name="1_Standarddesign 1">
      <a:dk1>
        <a:srgbClr val="000000"/>
      </a:dk1>
      <a:lt1>
        <a:srgbClr val="FFFFFF"/>
      </a:lt1>
      <a:dk2>
        <a:srgbClr val="004074"/>
      </a:dk2>
      <a:lt2>
        <a:srgbClr val="FEA501"/>
      </a:lt2>
      <a:accent1>
        <a:srgbClr val="0061B2"/>
      </a:accent1>
      <a:accent2>
        <a:srgbClr val="2A79D0"/>
      </a:accent2>
      <a:accent3>
        <a:srgbClr val="FFFFFF"/>
      </a:accent3>
      <a:accent4>
        <a:srgbClr val="000000"/>
      </a:accent4>
      <a:accent5>
        <a:srgbClr val="AAB7D5"/>
      </a:accent5>
      <a:accent6>
        <a:srgbClr val="256DBC"/>
      </a:accent6>
      <a:hlink>
        <a:srgbClr val="69A2E1"/>
      </a:hlink>
      <a:folHlink>
        <a:srgbClr val="9DC2EB"/>
      </a:folHlink>
    </a:clrScheme>
    <a:fontScheme name="1_Standard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Standarddesign 1">
        <a:dk1>
          <a:srgbClr val="000000"/>
        </a:dk1>
        <a:lt1>
          <a:srgbClr val="FFFFFF"/>
        </a:lt1>
        <a:dk2>
          <a:srgbClr val="004074"/>
        </a:dk2>
        <a:lt2>
          <a:srgbClr val="FEA501"/>
        </a:lt2>
        <a:accent1>
          <a:srgbClr val="0061B2"/>
        </a:accent1>
        <a:accent2>
          <a:srgbClr val="2A79D0"/>
        </a:accent2>
        <a:accent3>
          <a:srgbClr val="FFFFFF"/>
        </a:accent3>
        <a:accent4>
          <a:srgbClr val="000000"/>
        </a:accent4>
        <a:accent5>
          <a:srgbClr val="AAB7D5"/>
        </a:accent5>
        <a:accent6>
          <a:srgbClr val="256DBC"/>
        </a:accent6>
        <a:hlink>
          <a:srgbClr val="69A2E1"/>
        </a:hlink>
        <a:folHlink>
          <a:srgbClr val="9DC2E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主题​​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0</Words>
  <Application>Microsoft Office PowerPoint</Application>
  <PresentationFormat>全屏显示(4:3)</PresentationFormat>
  <Paragraphs>11</Paragraphs>
  <Slides>1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2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4" baseType="lpstr">
      <vt:lpstr>Arial</vt:lpstr>
      <vt:lpstr>Wingdings</vt:lpstr>
      <vt:lpstr>1_Standarddesign</vt:lpstr>
      <vt:lpstr>PowerPoint 演示文稿</vt:lpstr>
    </vt:vector>
  </TitlesOfParts>
  <Company>Inscale GmbH</Company>
  <LinksUpToDate>false</LinksUpToDate>
  <SharedDoc>false</SharedDoc>
  <HyperlinkBase>www.presentationload.com</HyperlinkBase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PT设计教程网分享</dc:title>
  <dc:subject>DG-递进</dc:subject>
  <dc:creator>PPTfans.cn</dc:creator>
  <cp:keywords>TZ-手动增减;XG-单色;KJ-平面;DH-静态</cp:keywords>
  <dc:description>PPTfans.cn</dc:description>
  <cp:revision>9</cp:revision>
  <dcterms:created xsi:type="dcterms:W3CDTF">2010-05-28T10:02:33Z</dcterms:created>
  <dcterms:modified xsi:type="dcterms:W3CDTF">2012-08-15T10:17:19Z</dcterms:modified>
  <cp:category>UDi-逻辑图示</cp:category>
</cp:coreProperties>
</file>